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63" r:id="rId2"/>
    <p:sldId id="277" r:id="rId3"/>
    <p:sldId id="264" r:id="rId4"/>
    <p:sldId id="265" r:id="rId5"/>
    <p:sldId id="266" r:id="rId6"/>
    <p:sldId id="271" r:id="rId7"/>
    <p:sldId id="274" r:id="rId8"/>
    <p:sldId id="268" r:id="rId9"/>
    <p:sldId id="269" r:id="rId10"/>
    <p:sldId id="280" r:id="rId11"/>
    <p:sldId id="279" r:id="rId12"/>
    <p:sldId id="270" r:id="rId13"/>
    <p:sldId id="281" r:id="rId14"/>
    <p:sldId id="273" r:id="rId15"/>
  </p:sldIdLst>
  <p:sldSz cx="12192000" cy="6858000"/>
  <p:notesSz cx="6858000" cy="9144000"/>
  <p:custDataLst>
    <p:tags r:id="rId17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0F0"/>
    <a:srgbClr val="ED7D31"/>
    <a:srgbClr val="486844"/>
    <a:srgbClr val="616161"/>
    <a:srgbClr val="7030A0"/>
    <a:srgbClr val="B4C7E7"/>
    <a:srgbClr val="FFE513"/>
    <a:srgbClr val="164397"/>
    <a:srgbClr val="EF3E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FC77852-80A2-4AD0-83A8-D38C1BCD70A2}" v="23" dt="2025-03-31T05:32:16.7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424" autoAdjust="0"/>
    <p:restoredTop sz="94235" autoAdjust="0"/>
  </p:normalViewPr>
  <p:slideViewPr>
    <p:cSldViewPr snapToGrid="0">
      <p:cViewPr varScale="1">
        <p:scale>
          <a:sx n="120" d="100"/>
          <a:sy n="120" d="100"/>
        </p:scale>
        <p:origin x="150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vensson Carl" userId="a83ba2fc-c1bb-4a26-bda7-d2dd55b2e213" providerId="ADAL" clId="{08F2502F-CB8B-43BA-935E-69E5AC49125F}"/>
    <pc:docChg chg="modSld">
      <pc:chgData name="Svensson Carl" userId="a83ba2fc-c1bb-4a26-bda7-d2dd55b2e213" providerId="ADAL" clId="{08F2502F-CB8B-43BA-935E-69E5AC49125F}" dt="2024-04-10T17:02:05.159" v="24" actId="20577"/>
      <pc:docMkLst>
        <pc:docMk/>
      </pc:docMkLst>
      <pc:sldChg chg="modSp mod">
        <pc:chgData name="Svensson Carl" userId="a83ba2fc-c1bb-4a26-bda7-d2dd55b2e213" providerId="ADAL" clId="{08F2502F-CB8B-43BA-935E-69E5AC49125F}" dt="2024-04-10T17:02:05.159" v="24" actId="20577"/>
        <pc:sldMkLst>
          <pc:docMk/>
          <pc:sldMk cId="1514668428" sldId="268"/>
        </pc:sldMkLst>
        <pc:graphicFrameChg chg="modGraphic">
          <ac:chgData name="Svensson Carl" userId="a83ba2fc-c1bb-4a26-bda7-d2dd55b2e213" providerId="ADAL" clId="{08F2502F-CB8B-43BA-935E-69E5AC49125F}" dt="2024-04-10T17:02:05.159" v="24" actId="20577"/>
          <ac:graphicFrameMkLst>
            <pc:docMk/>
            <pc:sldMk cId="1514668428" sldId="268"/>
            <ac:graphicFrameMk id="6" creationId="{70924E9A-9EC7-9298-5BDE-CCAE74922E86}"/>
          </ac:graphicFrameMkLst>
        </pc:graphicFrameChg>
      </pc:sldChg>
    </pc:docChg>
  </pc:docChgLst>
  <pc:docChgLst>
    <pc:chgData name="Högsberg Gustav" userId="dda5e8c6-f907-4831-967a-bdbf1c7bec20" providerId="ADAL" clId="{55A645F6-9BCF-41DA-A751-97A4EF538332}"/>
    <pc:docChg chg="undo custSel addSld delSld modSld">
      <pc:chgData name="Högsberg Gustav" userId="dda5e8c6-f907-4831-967a-bdbf1c7bec20" providerId="ADAL" clId="{55A645F6-9BCF-41DA-A751-97A4EF538332}" dt="2025-03-10T19:07:05.380" v="1088" actId="20577"/>
      <pc:docMkLst>
        <pc:docMk/>
      </pc:docMkLst>
      <pc:sldChg chg="modSp mod">
        <pc:chgData name="Högsberg Gustav" userId="dda5e8c6-f907-4831-967a-bdbf1c7bec20" providerId="ADAL" clId="{55A645F6-9BCF-41DA-A751-97A4EF538332}" dt="2025-03-10T18:29:09.256" v="7" actId="20577"/>
        <pc:sldMkLst>
          <pc:docMk/>
          <pc:sldMk cId="2691432808" sldId="263"/>
        </pc:sldMkLst>
        <pc:spChg chg="mod">
          <ac:chgData name="Högsberg Gustav" userId="dda5e8c6-f907-4831-967a-bdbf1c7bec20" providerId="ADAL" clId="{55A645F6-9BCF-41DA-A751-97A4EF538332}" dt="2025-03-10T18:29:09.256" v="7" actId="20577"/>
          <ac:spMkLst>
            <pc:docMk/>
            <pc:sldMk cId="2691432808" sldId="263"/>
            <ac:spMk id="2" creationId="{815D44E0-5EDB-1DBE-2E86-576B4DEE7B32}"/>
          </ac:spMkLst>
        </pc:spChg>
      </pc:sldChg>
      <pc:sldChg chg="modSp mod modNotesTx">
        <pc:chgData name="Högsberg Gustav" userId="dda5e8c6-f907-4831-967a-bdbf1c7bec20" providerId="ADAL" clId="{55A645F6-9BCF-41DA-A751-97A4EF538332}" dt="2025-03-10T18:31:37.770" v="60" actId="20577"/>
        <pc:sldMkLst>
          <pc:docMk/>
          <pc:sldMk cId="712805491" sldId="265"/>
        </pc:sldMkLst>
        <pc:spChg chg="mod">
          <ac:chgData name="Högsberg Gustav" userId="dda5e8c6-f907-4831-967a-bdbf1c7bec20" providerId="ADAL" clId="{55A645F6-9BCF-41DA-A751-97A4EF538332}" dt="2025-03-10T18:31:11.500" v="55" actId="20577"/>
          <ac:spMkLst>
            <pc:docMk/>
            <pc:sldMk cId="712805491" sldId="265"/>
            <ac:spMk id="3" creationId="{DB7BBA22-BA0F-C4AB-7D8A-24C45C9E7388}"/>
          </ac:spMkLst>
        </pc:spChg>
      </pc:sldChg>
      <pc:sldChg chg="modSp mod modNotesTx">
        <pc:chgData name="Högsberg Gustav" userId="dda5e8c6-f907-4831-967a-bdbf1c7bec20" providerId="ADAL" clId="{55A645F6-9BCF-41DA-A751-97A4EF538332}" dt="2025-03-10T18:52:14.668" v="841" actId="20577"/>
        <pc:sldMkLst>
          <pc:docMk/>
          <pc:sldMk cId="1810164803" sldId="266"/>
        </pc:sldMkLst>
        <pc:spChg chg="mod">
          <ac:chgData name="Högsberg Gustav" userId="dda5e8c6-f907-4831-967a-bdbf1c7bec20" providerId="ADAL" clId="{55A645F6-9BCF-41DA-A751-97A4EF538332}" dt="2025-03-10T18:52:14.668" v="841" actId="20577"/>
          <ac:spMkLst>
            <pc:docMk/>
            <pc:sldMk cId="1810164803" sldId="266"/>
            <ac:spMk id="3" creationId="{DB7BBA22-BA0F-C4AB-7D8A-24C45C9E7388}"/>
          </ac:spMkLst>
        </pc:spChg>
      </pc:sldChg>
      <pc:sldChg chg="del">
        <pc:chgData name="Högsberg Gustav" userId="dda5e8c6-f907-4831-967a-bdbf1c7bec20" providerId="ADAL" clId="{55A645F6-9BCF-41DA-A751-97A4EF538332}" dt="2025-03-10T18:39:45.880" v="279" actId="2696"/>
        <pc:sldMkLst>
          <pc:docMk/>
          <pc:sldMk cId="959450828" sldId="267"/>
        </pc:sldMkLst>
      </pc:sldChg>
      <pc:sldChg chg="modNotesTx">
        <pc:chgData name="Högsberg Gustav" userId="dda5e8c6-f907-4831-967a-bdbf1c7bec20" providerId="ADAL" clId="{55A645F6-9BCF-41DA-A751-97A4EF538332}" dt="2025-03-10T18:40:37.890" v="307" actId="20577"/>
        <pc:sldMkLst>
          <pc:docMk/>
          <pc:sldMk cId="1514668428" sldId="268"/>
        </pc:sldMkLst>
      </pc:sldChg>
      <pc:sldChg chg="modSp mod modNotesTx">
        <pc:chgData name="Högsberg Gustav" userId="dda5e8c6-f907-4831-967a-bdbf1c7bec20" providerId="ADAL" clId="{55A645F6-9BCF-41DA-A751-97A4EF538332}" dt="2025-03-10T18:48:55.244" v="720" actId="20577"/>
        <pc:sldMkLst>
          <pc:docMk/>
          <pc:sldMk cId="3560274193" sldId="269"/>
        </pc:sldMkLst>
        <pc:spChg chg="mod">
          <ac:chgData name="Högsberg Gustav" userId="dda5e8c6-f907-4831-967a-bdbf1c7bec20" providerId="ADAL" clId="{55A645F6-9BCF-41DA-A751-97A4EF538332}" dt="2025-03-10T18:47:21.144" v="508" actId="20577"/>
          <ac:spMkLst>
            <pc:docMk/>
            <pc:sldMk cId="3560274193" sldId="269"/>
            <ac:spMk id="3" creationId="{DB7BBA22-BA0F-C4AB-7D8A-24C45C9E7388}"/>
          </ac:spMkLst>
        </pc:spChg>
      </pc:sldChg>
      <pc:sldChg chg="addSp modSp mod">
        <pc:chgData name="Högsberg Gustav" userId="dda5e8c6-f907-4831-967a-bdbf1c7bec20" providerId="ADAL" clId="{55A645F6-9BCF-41DA-A751-97A4EF538332}" dt="2025-03-10T18:57:58.288" v="989" actId="20577"/>
        <pc:sldMkLst>
          <pc:docMk/>
          <pc:sldMk cId="1057160121" sldId="270"/>
        </pc:sldMkLst>
        <pc:spChg chg="mod">
          <ac:chgData name="Högsberg Gustav" userId="dda5e8c6-f907-4831-967a-bdbf1c7bec20" providerId="ADAL" clId="{55A645F6-9BCF-41DA-A751-97A4EF538332}" dt="2025-03-10T18:49:52.103" v="756" actId="20577"/>
          <ac:spMkLst>
            <pc:docMk/>
            <pc:sldMk cId="1057160121" sldId="270"/>
            <ac:spMk id="2" creationId="{815D44E0-5EDB-1DBE-2E86-576B4DEE7B32}"/>
          </ac:spMkLst>
        </pc:spChg>
        <pc:spChg chg="mod">
          <ac:chgData name="Högsberg Gustav" userId="dda5e8c6-f907-4831-967a-bdbf1c7bec20" providerId="ADAL" clId="{55A645F6-9BCF-41DA-A751-97A4EF538332}" dt="2025-03-10T18:57:58.288" v="989" actId="20577"/>
          <ac:spMkLst>
            <pc:docMk/>
            <pc:sldMk cId="1057160121" sldId="270"/>
            <ac:spMk id="3" creationId="{DB7BBA22-BA0F-C4AB-7D8A-24C45C9E7388}"/>
          </ac:spMkLst>
        </pc:spChg>
        <pc:picChg chg="add mod">
          <ac:chgData name="Högsberg Gustav" userId="dda5e8c6-f907-4831-967a-bdbf1c7bec20" providerId="ADAL" clId="{55A645F6-9BCF-41DA-A751-97A4EF538332}" dt="2025-03-10T18:57:39.006" v="937" actId="1076"/>
          <ac:picMkLst>
            <pc:docMk/>
            <pc:sldMk cId="1057160121" sldId="270"/>
            <ac:picMk id="9" creationId="{F2A64F5A-4680-CD94-FEC6-CBD896BB18A8}"/>
          </ac:picMkLst>
        </pc:picChg>
      </pc:sldChg>
      <pc:sldChg chg="modSp mod modNotesTx">
        <pc:chgData name="Högsberg Gustav" userId="dda5e8c6-f907-4831-967a-bdbf1c7bec20" providerId="ADAL" clId="{55A645F6-9BCF-41DA-A751-97A4EF538332}" dt="2025-03-10T18:39:31.727" v="278" actId="20577"/>
        <pc:sldMkLst>
          <pc:docMk/>
          <pc:sldMk cId="2749433520" sldId="271"/>
        </pc:sldMkLst>
        <pc:spChg chg="mod">
          <ac:chgData name="Högsberg Gustav" userId="dda5e8c6-f907-4831-967a-bdbf1c7bec20" providerId="ADAL" clId="{55A645F6-9BCF-41DA-A751-97A4EF538332}" dt="2025-03-10T18:38:37.578" v="231" actId="20577"/>
          <ac:spMkLst>
            <pc:docMk/>
            <pc:sldMk cId="2749433520" sldId="271"/>
            <ac:spMk id="3" creationId="{85FF8445-6016-5B3B-2061-6EA5FA630FB3}"/>
          </ac:spMkLst>
        </pc:spChg>
      </pc:sldChg>
      <pc:sldChg chg="modNotesTx">
        <pc:chgData name="Högsberg Gustav" userId="dda5e8c6-f907-4831-967a-bdbf1c7bec20" providerId="ADAL" clId="{55A645F6-9BCF-41DA-A751-97A4EF538332}" dt="2025-03-10T18:39:53.505" v="292" actId="20577"/>
        <pc:sldMkLst>
          <pc:docMk/>
          <pc:sldMk cId="3376543278" sldId="274"/>
        </pc:sldMkLst>
      </pc:sldChg>
      <pc:sldChg chg="modSp new mod modNotesTx">
        <pc:chgData name="Högsberg Gustav" userId="dda5e8c6-f907-4831-967a-bdbf1c7bec20" providerId="ADAL" clId="{55A645F6-9BCF-41DA-A751-97A4EF538332}" dt="2025-03-10T18:45:53.733" v="385" actId="20577"/>
        <pc:sldMkLst>
          <pc:docMk/>
          <pc:sldMk cId="1052244981" sldId="275"/>
        </pc:sldMkLst>
        <pc:spChg chg="mod">
          <ac:chgData name="Högsberg Gustav" userId="dda5e8c6-f907-4831-967a-bdbf1c7bec20" providerId="ADAL" clId="{55A645F6-9BCF-41DA-A751-97A4EF538332}" dt="2025-03-10T18:45:39.315" v="328" actId="20577"/>
          <ac:spMkLst>
            <pc:docMk/>
            <pc:sldMk cId="1052244981" sldId="275"/>
            <ac:spMk id="2" creationId="{B8B8C6F1-3552-9E29-349B-7EC573AF80DC}"/>
          </ac:spMkLst>
        </pc:spChg>
      </pc:sldChg>
      <pc:sldChg chg="modSp new mod">
        <pc:chgData name="Högsberg Gustav" userId="dda5e8c6-f907-4831-967a-bdbf1c7bec20" providerId="ADAL" clId="{55A645F6-9BCF-41DA-A751-97A4EF538332}" dt="2025-03-10T19:07:05.380" v="1088" actId="20577"/>
        <pc:sldMkLst>
          <pc:docMk/>
          <pc:sldMk cId="3668547807" sldId="276"/>
        </pc:sldMkLst>
        <pc:spChg chg="mod">
          <ac:chgData name="Högsberg Gustav" userId="dda5e8c6-f907-4831-967a-bdbf1c7bec20" providerId="ADAL" clId="{55A645F6-9BCF-41DA-A751-97A4EF538332}" dt="2025-03-10T19:02:10.082" v="996" actId="20577"/>
          <ac:spMkLst>
            <pc:docMk/>
            <pc:sldMk cId="3668547807" sldId="276"/>
            <ac:spMk id="2" creationId="{8DEC914B-54EB-7F1F-69D3-E57188D78329}"/>
          </ac:spMkLst>
        </pc:spChg>
        <pc:spChg chg="mod">
          <ac:chgData name="Högsberg Gustav" userId="dda5e8c6-f907-4831-967a-bdbf1c7bec20" providerId="ADAL" clId="{55A645F6-9BCF-41DA-A751-97A4EF538332}" dt="2025-03-10T19:07:05.380" v="1088" actId="20577"/>
          <ac:spMkLst>
            <pc:docMk/>
            <pc:sldMk cId="3668547807" sldId="276"/>
            <ac:spMk id="3" creationId="{8CAC29CC-421B-6560-F936-81FA4FC38CC0}"/>
          </ac:spMkLst>
        </pc:spChg>
      </pc:sldChg>
    </pc:docChg>
  </pc:docChgLst>
  <pc:docChgLst>
    <pc:chgData name="Högsberg Gustav" userId="dda5e8c6-f907-4831-967a-bdbf1c7bec20" providerId="ADAL" clId="{4FC77852-80A2-4AD0-83A8-D38C1BCD70A2}"/>
    <pc:docChg chg="undo redo custSel addSld delSld modSld sldOrd">
      <pc:chgData name="Högsberg Gustav" userId="dda5e8c6-f907-4831-967a-bdbf1c7bec20" providerId="ADAL" clId="{4FC77852-80A2-4AD0-83A8-D38C1BCD70A2}" dt="2025-04-03T10:20:47.358" v="2249" actId="20577"/>
      <pc:docMkLst>
        <pc:docMk/>
      </pc:docMkLst>
      <pc:sldChg chg="modSp mod modNotesTx">
        <pc:chgData name="Högsberg Gustav" userId="dda5e8c6-f907-4831-967a-bdbf1c7bec20" providerId="ADAL" clId="{4FC77852-80A2-4AD0-83A8-D38C1BCD70A2}" dt="2025-04-03T10:20:47.358" v="2249" actId="20577"/>
        <pc:sldMkLst>
          <pc:docMk/>
          <pc:sldMk cId="2691432808" sldId="263"/>
        </pc:sldMkLst>
        <pc:spChg chg="mod">
          <ac:chgData name="Högsberg Gustav" userId="dda5e8c6-f907-4831-967a-bdbf1c7bec20" providerId="ADAL" clId="{4FC77852-80A2-4AD0-83A8-D38C1BCD70A2}" dt="2025-04-03T10:20:47.358" v="2249" actId="20577"/>
          <ac:spMkLst>
            <pc:docMk/>
            <pc:sldMk cId="2691432808" sldId="263"/>
            <ac:spMk id="2" creationId="{815D44E0-5EDB-1DBE-2E86-576B4DEE7B32}"/>
          </ac:spMkLst>
        </pc:spChg>
      </pc:sldChg>
      <pc:sldChg chg="modSp mod modNotesTx">
        <pc:chgData name="Högsberg Gustav" userId="dda5e8c6-f907-4831-967a-bdbf1c7bec20" providerId="ADAL" clId="{4FC77852-80A2-4AD0-83A8-D38C1BCD70A2}" dt="2025-04-03T10:20:36.765" v="2237" actId="20577"/>
        <pc:sldMkLst>
          <pc:docMk/>
          <pc:sldMk cId="1161088020" sldId="264"/>
        </pc:sldMkLst>
        <pc:spChg chg="mod">
          <ac:chgData name="Högsberg Gustav" userId="dda5e8c6-f907-4831-967a-bdbf1c7bec20" providerId="ADAL" clId="{4FC77852-80A2-4AD0-83A8-D38C1BCD70A2}" dt="2025-04-03T10:20:36.765" v="2237" actId="20577"/>
          <ac:spMkLst>
            <pc:docMk/>
            <pc:sldMk cId="1161088020" sldId="264"/>
            <ac:spMk id="3" creationId="{DB7BBA22-BA0F-C4AB-7D8A-24C45C9E7388}"/>
          </ac:spMkLst>
        </pc:spChg>
      </pc:sldChg>
      <pc:sldChg chg="modSp mod">
        <pc:chgData name="Högsberg Gustav" userId="dda5e8c6-f907-4831-967a-bdbf1c7bec20" providerId="ADAL" clId="{4FC77852-80A2-4AD0-83A8-D38C1BCD70A2}" dt="2025-03-17T07:34:10.460" v="135" actId="113"/>
        <pc:sldMkLst>
          <pc:docMk/>
          <pc:sldMk cId="712805491" sldId="265"/>
        </pc:sldMkLst>
        <pc:spChg chg="mod">
          <ac:chgData name="Högsberg Gustav" userId="dda5e8c6-f907-4831-967a-bdbf1c7bec20" providerId="ADAL" clId="{4FC77852-80A2-4AD0-83A8-D38C1BCD70A2}" dt="2025-03-17T07:33:52.138" v="133" actId="20577"/>
          <ac:spMkLst>
            <pc:docMk/>
            <pc:sldMk cId="712805491" sldId="265"/>
            <ac:spMk id="2" creationId="{815D44E0-5EDB-1DBE-2E86-576B4DEE7B32}"/>
          </ac:spMkLst>
        </pc:spChg>
        <pc:spChg chg="mod">
          <ac:chgData name="Högsberg Gustav" userId="dda5e8c6-f907-4831-967a-bdbf1c7bec20" providerId="ADAL" clId="{4FC77852-80A2-4AD0-83A8-D38C1BCD70A2}" dt="2025-03-17T07:34:10.460" v="135" actId="113"/>
          <ac:spMkLst>
            <pc:docMk/>
            <pc:sldMk cId="712805491" sldId="265"/>
            <ac:spMk id="3" creationId="{DB7BBA22-BA0F-C4AB-7D8A-24C45C9E7388}"/>
          </ac:spMkLst>
        </pc:spChg>
      </pc:sldChg>
      <pc:sldChg chg="modSp mod">
        <pc:chgData name="Högsberg Gustav" userId="dda5e8c6-f907-4831-967a-bdbf1c7bec20" providerId="ADAL" clId="{4FC77852-80A2-4AD0-83A8-D38C1BCD70A2}" dt="2025-03-17T07:40:00.379" v="399" actId="20577"/>
        <pc:sldMkLst>
          <pc:docMk/>
          <pc:sldMk cId="1810164803" sldId="266"/>
        </pc:sldMkLst>
        <pc:spChg chg="mod">
          <ac:chgData name="Högsberg Gustav" userId="dda5e8c6-f907-4831-967a-bdbf1c7bec20" providerId="ADAL" clId="{4FC77852-80A2-4AD0-83A8-D38C1BCD70A2}" dt="2025-03-17T07:40:00.379" v="399" actId="20577"/>
          <ac:spMkLst>
            <pc:docMk/>
            <pc:sldMk cId="1810164803" sldId="266"/>
            <ac:spMk id="3" creationId="{DB7BBA22-BA0F-C4AB-7D8A-24C45C9E7388}"/>
          </ac:spMkLst>
        </pc:spChg>
      </pc:sldChg>
      <pc:sldChg chg="modSp mod modNotesTx">
        <pc:chgData name="Högsberg Gustav" userId="dda5e8c6-f907-4831-967a-bdbf1c7bec20" providerId="ADAL" clId="{4FC77852-80A2-4AD0-83A8-D38C1BCD70A2}" dt="2025-03-20T12:20:22.474" v="994" actId="20577"/>
        <pc:sldMkLst>
          <pc:docMk/>
          <pc:sldMk cId="1514668428" sldId="268"/>
        </pc:sldMkLst>
        <pc:spChg chg="mod">
          <ac:chgData name="Högsberg Gustav" userId="dda5e8c6-f907-4831-967a-bdbf1c7bec20" providerId="ADAL" clId="{4FC77852-80A2-4AD0-83A8-D38C1BCD70A2}" dt="2025-03-19T11:59:14.800" v="594" actId="20577"/>
          <ac:spMkLst>
            <pc:docMk/>
            <pc:sldMk cId="1514668428" sldId="268"/>
            <ac:spMk id="2" creationId="{815D44E0-5EDB-1DBE-2E86-576B4DEE7B32}"/>
          </ac:spMkLst>
        </pc:spChg>
        <pc:graphicFrameChg chg="mod modGraphic">
          <ac:chgData name="Högsberg Gustav" userId="dda5e8c6-f907-4831-967a-bdbf1c7bec20" providerId="ADAL" clId="{4FC77852-80A2-4AD0-83A8-D38C1BCD70A2}" dt="2025-03-20T12:19:52.930" v="987" actId="20577"/>
          <ac:graphicFrameMkLst>
            <pc:docMk/>
            <pc:sldMk cId="1514668428" sldId="268"/>
            <ac:graphicFrameMk id="6" creationId="{70924E9A-9EC7-9298-5BDE-CCAE74922E86}"/>
          </ac:graphicFrameMkLst>
        </pc:graphicFrameChg>
      </pc:sldChg>
      <pc:sldChg chg="modSp mod modNotesTx">
        <pc:chgData name="Högsberg Gustav" userId="dda5e8c6-f907-4831-967a-bdbf1c7bec20" providerId="ADAL" clId="{4FC77852-80A2-4AD0-83A8-D38C1BCD70A2}" dt="2025-03-20T12:23:16.194" v="1173" actId="20577"/>
        <pc:sldMkLst>
          <pc:docMk/>
          <pc:sldMk cId="3560274193" sldId="269"/>
        </pc:sldMkLst>
        <pc:spChg chg="mod">
          <ac:chgData name="Högsberg Gustav" userId="dda5e8c6-f907-4831-967a-bdbf1c7bec20" providerId="ADAL" clId="{4FC77852-80A2-4AD0-83A8-D38C1BCD70A2}" dt="2025-03-20T12:23:11.339" v="1166" actId="113"/>
          <ac:spMkLst>
            <pc:docMk/>
            <pc:sldMk cId="3560274193" sldId="269"/>
            <ac:spMk id="3" creationId="{DB7BBA22-BA0F-C4AB-7D8A-24C45C9E7388}"/>
          </ac:spMkLst>
        </pc:spChg>
      </pc:sldChg>
      <pc:sldChg chg="modSp mod modNotesTx">
        <pc:chgData name="Högsberg Gustav" userId="dda5e8c6-f907-4831-967a-bdbf1c7bec20" providerId="ADAL" clId="{4FC77852-80A2-4AD0-83A8-D38C1BCD70A2}" dt="2025-03-31T05:31:29.273" v="1855" actId="20577"/>
        <pc:sldMkLst>
          <pc:docMk/>
          <pc:sldMk cId="1057160121" sldId="270"/>
        </pc:sldMkLst>
        <pc:spChg chg="mod">
          <ac:chgData name="Högsberg Gustav" userId="dda5e8c6-f907-4831-967a-bdbf1c7bec20" providerId="ADAL" clId="{4FC77852-80A2-4AD0-83A8-D38C1BCD70A2}" dt="2025-03-31T05:27:19.940" v="1672" actId="20577"/>
          <ac:spMkLst>
            <pc:docMk/>
            <pc:sldMk cId="1057160121" sldId="270"/>
            <ac:spMk id="2" creationId="{815D44E0-5EDB-1DBE-2E86-576B4DEE7B32}"/>
          </ac:spMkLst>
        </pc:spChg>
        <pc:spChg chg="mod">
          <ac:chgData name="Högsberg Gustav" userId="dda5e8c6-f907-4831-967a-bdbf1c7bec20" providerId="ADAL" clId="{4FC77852-80A2-4AD0-83A8-D38C1BCD70A2}" dt="2025-03-31T05:31:29.273" v="1855" actId="20577"/>
          <ac:spMkLst>
            <pc:docMk/>
            <pc:sldMk cId="1057160121" sldId="270"/>
            <ac:spMk id="3" creationId="{DB7BBA22-BA0F-C4AB-7D8A-24C45C9E7388}"/>
          </ac:spMkLst>
        </pc:spChg>
        <pc:picChg chg="mod">
          <ac:chgData name="Högsberg Gustav" userId="dda5e8c6-f907-4831-967a-bdbf1c7bec20" providerId="ADAL" clId="{4FC77852-80A2-4AD0-83A8-D38C1BCD70A2}" dt="2025-03-31T05:31:17.828" v="1854" actId="1076"/>
          <ac:picMkLst>
            <pc:docMk/>
            <pc:sldMk cId="1057160121" sldId="270"/>
            <ac:picMk id="9" creationId="{F2A64F5A-4680-CD94-FEC6-CBD896BB18A8}"/>
          </ac:picMkLst>
        </pc:picChg>
      </pc:sldChg>
      <pc:sldChg chg="delSp modSp mod">
        <pc:chgData name="Högsberg Gustav" userId="dda5e8c6-f907-4831-967a-bdbf1c7bec20" providerId="ADAL" clId="{4FC77852-80A2-4AD0-83A8-D38C1BCD70A2}" dt="2025-03-18T07:22:55.942" v="550" actId="20577"/>
        <pc:sldMkLst>
          <pc:docMk/>
          <pc:sldMk cId="2749433520" sldId="271"/>
        </pc:sldMkLst>
        <pc:spChg chg="mod">
          <ac:chgData name="Högsberg Gustav" userId="dda5e8c6-f907-4831-967a-bdbf1c7bec20" providerId="ADAL" clId="{4FC77852-80A2-4AD0-83A8-D38C1BCD70A2}" dt="2025-03-17T07:40:41.451" v="420" actId="20577"/>
          <ac:spMkLst>
            <pc:docMk/>
            <pc:sldMk cId="2749433520" sldId="271"/>
            <ac:spMk id="2" creationId="{815D44E0-5EDB-1DBE-2E86-576B4DEE7B32}"/>
          </ac:spMkLst>
        </pc:spChg>
        <pc:spChg chg="mod">
          <ac:chgData name="Högsberg Gustav" userId="dda5e8c6-f907-4831-967a-bdbf1c7bec20" providerId="ADAL" clId="{4FC77852-80A2-4AD0-83A8-D38C1BCD70A2}" dt="2025-03-18T07:22:55.942" v="550" actId="20577"/>
          <ac:spMkLst>
            <pc:docMk/>
            <pc:sldMk cId="2749433520" sldId="271"/>
            <ac:spMk id="3" creationId="{85FF8445-6016-5B3B-2061-6EA5FA630FB3}"/>
          </ac:spMkLst>
        </pc:spChg>
        <pc:picChg chg="del">
          <ac:chgData name="Högsberg Gustav" userId="dda5e8c6-f907-4831-967a-bdbf1c7bec20" providerId="ADAL" clId="{4FC77852-80A2-4AD0-83A8-D38C1BCD70A2}" dt="2025-03-17T07:40:17.524" v="400" actId="478"/>
          <ac:picMkLst>
            <pc:docMk/>
            <pc:sldMk cId="2749433520" sldId="271"/>
            <ac:picMk id="9" creationId="{7B7BD0AC-7DED-10D4-2BEA-AA6D05EF77EF}"/>
          </ac:picMkLst>
        </pc:picChg>
      </pc:sldChg>
      <pc:sldChg chg="addSp delSp modSp mod modNotesTx">
        <pc:chgData name="Högsberg Gustav" userId="dda5e8c6-f907-4831-967a-bdbf1c7bec20" providerId="ADAL" clId="{4FC77852-80A2-4AD0-83A8-D38C1BCD70A2}" dt="2025-03-18T07:26:13.517" v="581" actId="1076"/>
        <pc:sldMkLst>
          <pc:docMk/>
          <pc:sldMk cId="3376543278" sldId="274"/>
        </pc:sldMkLst>
        <pc:spChg chg="mod">
          <ac:chgData name="Högsberg Gustav" userId="dda5e8c6-f907-4831-967a-bdbf1c7bec20" providerId="ADAL" clId="{4FC77852-80A2-4AD0-83A8-D38C1BCD70A2}" dt="2025-03-18T07:23:59.362" v="560" actId="1076"/>
          <ac:spMkLst>
            <pc:docMk/>
            <pc:sldMk cId="3376543278" sldId="274"/>
            <ac:spMk id="2" creationId="{815D44E0-5EDB-1DBE-2E86-576B4DEE7B32}"/>
          </ac:spMkLst>
        </pc:spChg>
        <pc:spChg chg="add mod">
          <ac:chgData name="Högsberg Gustav" userId="dda5e8c6-f907-4831-967a-bdbf1c7bec20" providerId="ADAL" clId="{4FC77852-80A2-4AD0-83A8-D38C1BCD70A2}" dt="2025-03-18T07:25:38.863" v="579" actId="1076"/>
          <ac:spMkLst>
            <pc:docMk/>
            <pc:sldMk cId="3376543278" sldId="274"/>
            <ac:spMk id="9" creationId="{6C502B45-8F3F-295D-FBCB-6B7FABD4E5E5}"/>
          </ac:spMkLst>
        </pc:spChg>
        <pc:picChg chg="add mod">
          <ac:chgData name="Högsberg Gustav" userId="dda5e8c6-f907-4831-967a-bdbf1c7bec20" providerId="ADAL" clId="{4FC77852-80A2-4AD0-83A8-D38C1BCD70A2}" dt="2025-03-18T07:26:08.273" v="580" actId="1076"/>
          <ac:picMkLst>
            <pc:docMk/>
            <pc:sldMk cId="3376543278" sldId="274"/>
            <ac:picMk id="6" creationId="{8472906F-911B-BED0-1E79-D97A145A338B}"/>
          </ac:picMkLst>
        </pc:picChg>
        <pc:picChg chg="del">
          <ac:chgData name="Högsberg Gustav" userId="dda5e8c6-f907-4831-967a-bdbf1c7bec20" providerId="ADAL" clId="{4FC77852-80A2-4AD0-83A8-D38C1BCD70A2}" dt="2025-03-17T07:46:32.322" v="500" actId="478"/>
          <ac:picMkLst>
            <pc:docMk/>
            <pc:sldMk cId="3376543278" sldId="274"/>
            <ac:picMk id="10" creationId="{094DC1D9-BD10-F40C-01D9-C921722F3704}"/>
          </ac:picMkLst>
        </pc:picChg>
        <pc:picChg chg="add mod">
          <ac:chgData name="Högsberg Gustav" userId="dda5e8c6-f907-4831-967a-bdbf1c7bec20" providerId="ADAL" clId="{4FC77852-80A2-4AD0-83A8-D38C1BCD70A2}" dt="2025-03-18T07:26:13.517" v="581" actId="1076"/>
          <ac:picMkLst>
            <pc:docMk/>
            <pc:sldMk cId="3376543278" sldId="274"/>
            <ac:picMk id="11" creationId="{964E4EF0-73A9-828A-A139-FFC02EDE5BCF}"/>
          </ac:picMkLst>
        </pc:picChg>
        <pc:picChg chg="add del mod">
          <ac:chgData name="Högsberg Gustav" userId="dda5e8c6-f907-4831-967a-bdbf1c7bec20" providerId="ADAL" clId="{4FC77852-80A2-4AD0-83A8-D38C1BCD70A2}" dt="2025-03-17T07:48:32.878" v="514" actId="21"/>
          <ac:picMkLst>
            <pc:docMk/>
            <pc:sldMk cId="3376543278" sldId="274"/>
            <ac:picMk id="11" creationId="{E98DDC74-F700-612B-6B12-904E458C3D2D}"/>
          </ac:picMkLst>
        </pc:picChg>
        <pc:picChg chg="del">
          <ac:chgData name="Högsberg Gustav" userId="dda5e8c6-f907-4831-967a-bdbf1c7bec20" providerId="ADAL" clId="{4FC77852-80A2-4AD0-83A8-D38C1BCD70A2}" dt="2025-03-17T07:46:31.715" v="499" actId="478"/>
          <ac:picMkLst>
            <pc:docMk/>
            <pc:sldMk cId="3376543278" sldId="274"/>
            <ac:picMk id="12" creationId="{63455F57-C6FC-C60C-D3C2-F019CDE5EDA1}"/>
          </ac:picMkLst>
        </pc:picChg>
        <pc:picChg chg="add del mod">
          <ac:chgData name="Högsberg Gustav" userId="dda5e8c6-f907-4831-967a-bdbf1c7bec20" providerId="ADAL" clId="{4FC77852-80A2-4AD0-83A8-D38C1BCD70A2}" dt="2025-03-17T07:48:52.045" v="516" actId="478"/>
          <ac:picMkLst>
            <pc:docMk/>
            <pc:sldMk cId="3376543278" sldId="274"/>
            <ac:picMk id="14" creationId="{EFCD60DA-E0A0-0E10-42D5-4351869CFA18}"/>
          </ac:picMkLst>
        </pc:picChg>
        <pc:picChg chg="add del mod">
          <ac:chgData name="Högsberg Gustav" userId="dda5e8c6-f907-4831-967a-bdbf1c7bec20" providerId="ADAL" clId="{4FC77852-80A2-4AD0-83A8-D38C1BCD70A2}" dt="2025-03-18T07:25:31.126" v="577" actId="478"/>
          <ac:picMkLst>
            <pc:docMk/>
            <pc:sldMk cId="3376543278" sldId="274"/>
            <ac:picMk id="16" creationId="{F5EEE799-5848-DA3B-C970-C5FB8A6AE04D}"/>
          </ac:picMkLst>
        </pc:picChg>
      </pc:sldChg>
      <pc:sldChg chg="modSp del mod">
        <pc:chgData name="Högsberg Gustav" userId="dda5e8c6-f907-4831-967a-bdbf1c7bec20" providerId="ADAL" clId="{4FC77852-80A2-4AD0-83A8-D38C1BCD70A2}" dt="2025-03-21T09:59:22.635" v="1599" actId="2696"/>
        <pc:sldMkLst>
          <pc:docMk/>
          <pc:sldMk cId="1052244981" sldId="275"/>
        </pc:sldMkLst>
        <pc:spChg chg="mod">
          <ac:chgData name="Högsberg Gustav" userId="dda5e8c6-f907-4831-967a-bdbf1c7bec20" providerId="ADAL" clId="{4FC77852-80A2-4AD0-83A8-D38C1BCD70A2}" dt="2025-03-21T09:50:34.821" v="1205" actId="20577"/>
          <ac:spMkLst>
            <pc:docMk/>
            <pc:sldMk cId="1052244981" sldId="275"/>
            <ac:spMk id="2" creationId="{B8B8C6F1-3552-9E29-349B-7EC573AF80DC}"/>
          </ac:spMkLst>
        </pc:spChg>
        <pc:spChg chg="mod">
          <ac:chgData name="Högsberg Gustav" userId="dda5e8c6-f907-4831-967a-bdbf1c7bec20" providerId="ADAL" clId="{4FC77852-80A2-4AD0-83A8-D38C1BCD70A2}" dt="2025-03-21T09:50:13.689" v="1193" actId="20577"/>
          <ac:spMkLst>
            <pc:docMk/>
            <pc:sldMk cId="1052244981" sldId="275"/>
            <ac:spMk id="3" creationId="{145666EF-C060-B335-8D4D-9032C2990345}"/>
          </ac:spMkLst>
        </pc:spChg>
      </pc:sldChg>
      <pc:sldChg chg="modSp del mod modNotesTx">
        <pc:chgData name="Högsberg Gustav" userId="dda5e8c6-f907-4831-967a-bdbf1c7bec20" providerId="ADAL" clId="{4FC77852-80A2-4AD0-83A8-D38C1BCD70A2}" dt="2025-03-31T05:32:41.182" v="1897" actId="47"/>
        <pc:sldMkLst>
          <pc:docMk/>
          <pc:sldMk cId="3668547807" sldId="276"/>
        </pc:sldMkLst>
        <pc:spChg chg="mod">
          <ac:chgData name="Högsberg Gustav" userId="dda5e8c6-f907-4831-967a-bdbf1c7bec20" providerId="ADAL" clId="{4FC77852-80A2-4AD0-83A8-D38C1BCD70A2}" dt="2025-03-19T12:03:41.968" v="623"/>
          <ac:spMkLst>
            <pc:docMk/>
            <pc:sldMk cId="3668547807" sldId="276"/>
            <ac:spMk id="3" creationId="{8CAC29CC-421B-6560-F936-81FA4FC38CC0}"/>
          </ac:spMkLst>
        </pc:spChg>
      </pc:sldChg>
      <pc:sldChg chg="delSp new mod setBg modNotesTx">
        <pc:chgData name="Högsberg Gustav" userId="dda5e8c6-f907-4831-967a-bdbf1c7bec20" providerId="ADAL" clId="{4FC77852-80A2-4AD0-83A8-D38C1BCD70A2}" dt="2025-03-14T12:52:40.303" v="83" actId="20577"/>
        <pc:sldMkLst>
          <pc:docMk/>
          <pc:sldMk cId="2312580558" sldId="277"/>
        </pc:sldMkLst>
        <pc:spChg chg="del">
          <ac:chgData name="Högsberg Gustav" userId="dda5e8c6-f907-4831-967a-bdbf1c7bec20" providerId="ADAL" clId="{4FC77852-80A2-4AD0-83A8-D38C1BCD70A2}" dt="2025-03-14T12:51:23.350" v="41" actId="478"/>
          <ac:spMkLst>
            <pc:docMk/>
            <pc:sldMk cId="2312580558" sldId="277"/>
            <ac:spMk id="2" creationId="{BBBEADA7-42EF-38F8-6B90-2FCEAED75AF4}"/>
          </ac:spMkLst>
        </pc:spChg>
        <pc:spChg chg="del">
          <ac:chgData name="Högsberg Gustav" userId="dda5e8c6-f907-4831-967a-bdbf1c7bec20" providerId="ADAL" clId="{4FC77852-80A2-4AD0-83A8-D38C1BCD70A2}" dt="2025-03-14T12:51:24.654" v="42" actId="478"/>
          <ac:spMkLst>
            <pc:docMk/>
            <pc:sldMk cId="2312580558" sldId="277"/>
            <ac:spMk id="3" creationId="{8BE386F9-7384-3BE9-F414-9FF223C92610}"/>
          </ac:spMkLst>
        </pc:spChg>
      </pc:sldChg>
      <pc:sldChg chg="new del">
        <pc:chgData name="Högsberg Gustav" userId="dda5e8c6-f907-4831-967a-bdbf1c7bec20" providerId="ADAL" clId="{4FC77852-80A2-4AD0-83A8-D38C1BCD70A2}" dt="2025-03-21T09:50:51.751" v="1209" actId="47"/>
        <pc:sldMkLst>
          <pc:docMk/>
          <pc:sldMk cId="2188480891" sldId="278"/>
        </pc:sldMkLst>
      </pc:sldChg>
      <pc:sldChg chg="modSp add mod ord setBg modNotesTx">
        <pc:chgData name="Högsberg Gustav" userId="dda5e8c6-f907-4831-967a-bdbf1c7bec20" providerId="ADAL" clId="{4FC77852-80A2-4AD0-83A8-D38C1BCD70A2}" dt="2025-03-21T10:01:11.728" v="1669" actId="20577"/>
        <pc:sldMkLst>
          <pc:docMk/>
          <pc:sldMk cId="1069448461" sldId="279"/>
        </pc:sldMkLst>
        <pc:spChg chg="mod">
          <ac:chgData name="Högsberg Gustav" userId="dda5e8c6-f907-4831-967a-bdbf1c7bec20" providerId="ADAL" clId="{4FC77852-80A2-4AD0-83A8-D38C1BCD70A2}" dt="2025-03-21T09:58:55.391" v="1595" actId="20577"/>
          <ac:spMkLst>
            <pc:docMk/>
            <pc:sldMk cId="1069448461" sldId="279"/>
            <ac:spMk id="2" creationId="{1DB5B196-B36E-7CD5-F5B1-E6364E680574}"/>
          </ac:spMkLst>
        </pc:spChg>
        <pc:spChg chg="mod">
          <ac:chgData name="Högsberg Gustav" userId="dda5e8c6-f907-4831-967a-bdbf1c7bec20" providerId="ADAL" clId="{4FC77852-80A2-4AD0-83A8-D38C1BCD70A2}" dt="2025-03-21T10:01:11.728" v="1669" actId="20577"/>
          <ac:spMkLst>
            <pc:docMk/>
            <pc:sldMk cId="1069448461" sldId="279"/>
            <ac:spMk id="3" creationId="{04A1687D-C31B-D38D-DE53-CA45C1C69C23}"/>
          </ac:spMkLst>
        </pc:spChg>
      </pc:sldChg>
      <pc:sldChg chg="addSp modSp add mod setBg modNotesTx">
        <pc:chgData name="Högsberg Gustav" userId="dda5e8c6-f907-4831-967a-bdbf1c7bec20" providerId="ADAL" clId="{4FC77852-80A2-4AD0-83A8-D38C1BCD70A2}" dt="2025-03-21T10:00:41.518" v="1622" actId="20577"/>
        <pc:sldMkLst>
          <pc:docMk/>
          <pc:sldMk cId="3349651601" sldId="280"/>
        </pc:sldMkLst>
        <pc:spChg chg="mod">
          <ac:chgData name="Högsberg Gustav" userId="dda5e8c6-f907-4831-967a-bdbf1c7bec20" providerId="ADAL" clId="{4FC77852-80A2-4AD0-83A8-D38C1BCD70A2}" dt="2025-03-21T09:52:59.529" v="1229" actId="20577"/>
          <ac:spMkLst>
            <pc:docMk/>
            <pc:sldMk cId="3349651601" sldId="280"/>
            <ac:spMk id="2" creationId="{AA154DF2-8FB1-19B3-9C28-9673C9C82079}"/>
          </ac:spMkLst>
        </pc:spChg>
        <pc:spChg chg="mod">
          <ac:chgData name="Högsberg Gustav" userId="dda5e8c6-f907-4831-967a-bdbf1c7bec20" providerId="ADAL" clId="{4FC77852-80A2-4AD0-83A8-D38C1BCD70A2}" dt="2025-03-21T10:00:41.518" v="1622" actId="20577"/>
          <ac:spMkLst>
            <pc:docMk/>
            <pc:sldMk cId="3349651601" sldId="280"/>
            <ac:spMk id="3" creationId="{291CF7BB-8A90-745F-6DF2-73565E4F377D}"/>
          </ac:spMkLst>
        </pc:spChg>
        <pc:picChg chg="add mod">
          <ac:chgData name="Högsberg Gustav" userId="dda5e8c6-f907-4831-967a-bdbf1c7bec20" providerId="ADAL" clId="{4FC77852-80A2-4AD0-83A8-D38C1BCD70A2}" dt="2025-03-21T09:56:27.124" v="1379" actId="1076"/>
          <ac:picMkLst>
            <pc:docMk/>
            <pc:sldMk cId="3349651601" sldId="280"/>
            <ac:picMk id="9" creationId="{E99C1127-D886-4850-BC07-7D6D64C305FA}"/>
          </ac:picMkLst>
        </pc:picChg>
      </pc:sldChg>
      <pc:sldChg chg="delSp modSp add mod setBg modNotesTx">
        <pc:chgData name="Högsberg Gustav" userId="dda5e8c6-f907-4831-967a-bdbf1c7bec20" providerId="ADAL" clId="{4FC77852-80A2-4AD0-83A8-D38C1BCD70A2}" dt="2025-03-31T05:36:14.100" v="2206" actId="20577"/>
        <pc:sldMkLst>
          <pc:docMk/>
          <pc:sldMk cId="2704205043" sldId="281"/>
        </pc:sldMkLst>
        <pc:spChg chg="mod">
          <ac:chgData name="Högsberg Gustav" userId="dda5e8c6-f907-4831-967a-bdbf1c7bec20" providerId="ADAL" clId="{4FC77852-80A2-4AD0-83A8-D38C1BCD70A2}" dt="2025-03-31T05:32:37.573" v="1896" actId="20577"/>
          <ac:spMkLst>
            <pc:docMk/>
            <pc:sldMk cId="2704205043" sldId="281"/>
            <ac:spMk id="2" creationId="{6ECABAC6-DAF9-8E4A-1FFE-D5914A0DA515}"/>
          </ac:spMkLst>
        </pc:spChg>
        <pc:spChg chg="mod">
          <ac:chgData name="Högsberg Gustav" userId="dda5e8c6-f907-4831-967a-bdbf1c7bec20" providerId="ADAL" clId="{4FC77852-80A2-4AD0-83A8-D38C1BCD70A2}" dt="2025-03-31T05:36:14.100" v="2206" actId="20577"/>
          <ac:spMkLst>
            <pc:docMk/>
            <pc:sldMk cId="2704205043" sldId="281"/>
            <ac:spMk id="3" creationId="{4322C96E-DF9B-157C-9936-5F5AE307801B}"/>
          </ac:spMkLst>
        </pc:spChg>
        <pc:picChg chg="del">
          <ac:chgData name="Högsberg Gustav" userId="dda5e8c6-f907-4831-967a-bdbf1c7bec20" providerId="ADAL" clId="{4FC77852-80A2-4AD0-83A8-D38C1BCD70A2}" dt="2025-03-31T05:32:29.725" v="1875" actId="478"/>
          <ac:picMkLst>
            <pc:docMk/>
            <pc:sldMk cId="2704205043" sldId="281"/>
            <ac:picMk id="9" creationId="{879EEA46-D8ED-C359-7F51-03236D33BB43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2310EA-9227-41D2-9014-9044E9048F4A}" type="datetimeFigureOut">
              <a:rPr lang="sv-SE" smtClean="0"/>
              <a:t>2025-04-03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4F4374-09CF-40DB-AEAA-A47196671AF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46173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Gustav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04444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9344C7-83D3-CB20-7755-4F13F64415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>
            <a:extLst>
              <a:ext uri="{FF2B5EF4-FFF2-40B4-BE49-F238E27FC236}">
                <a16:creationId xmlns:a16="http://schemas.microsoft.com/office/drawing/2014/main" id="{FD0E7D99-1D95-ECED-C21A-D8C7FF643A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>
            <a:extLst>
              <a:ext uri="{FF2B5EF4-FFF2-40B4-BE49-F238E27FC236}">
                <a16:creationId xmlns:a16="http://schemas.microsoft.com/office/drawing/2014/main" id="{8DAD7315-8874-1E83-1B66-FADE88B62A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Gustav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07DCBC8-3F77-8AA0-D8FB-2A4E19DDF0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992039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5C45DB-C760-C623-CB7E-4831B887F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>
            <a:extLst>
              <a:ext uri="{FF2B5EF4-FFF2-40B4-BE49-F238E27FC236}">
                <a16:creationId xmlns:a16="http://schemas.microsoft.com/office/drawing/2014/main" id="{FAF1D6DA-E355-A435-3FC4-EACEC28F69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>
            <a:extLst>
              <a:ext uri="{FF2B5EF4-FFF2-40B4-BE49-F238E27FC236}">
                <a16:creationId xmlns:a16="http://schemas.microsoft.com/office/drawing/2014/main" id="{A4AA60CB-D90E-CED0-A7A6-ECD6D3300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Gustav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7ED23A73-BBD5-4379-F8E7-2F62C7E33D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368239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Marcus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443251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BC4A48-4356-878C-C06B-9F3279A722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>
            <a:extLst>
              <a:ext uri="{FF2B5EF4-FFF2-40B4-BE49-F238E27FC236}">
                <a16:creationId xmlns:a16="http://schemas.microsoft.com/office/drawing/2014/main" id="{B1A9977D-5F32-99DE-219E-DDF014023D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>
            <a:extLst>
              <a:ext uri="{FF2B5EF4-FFF2-40B4-BE49-F238E27FC236}">
                <a16:creationId xmlns:a16="http://schemas.microsoft.com/office/drawing/2014/main" id="{CDAAAF8C-3A1D-CC87-6665-FC81BD1203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Fredrik/</a:t>
            </a:r>
            <a:r>
              <a:rPr lang="sv-SE" dirty="0" err="1"/>
              <a:t>Besnik</a:t>
            </a:r>
            <a:endParaRPr lang="sv-SE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1D38CA6C-BD29-A428-4211-FFB3597648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77609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Gustav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60305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Gustav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002298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Calle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217582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David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483102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Calle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875048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Cal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73459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sv-SE" dirty="0"/>
              <a:t>Jon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624167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Frode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23190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86D991A-503B-115D-7011-985888C476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30A2D454-EC2B-8CDB-C462-75F2D20963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CEAAB7-8DAF-7B9B-904D-AF83518CE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4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1B5B165-5465-AE8C-17EA-2A136C4007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EA2CC22-231D-4545-18FF-4165628A6F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31727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98BA05-E0B2-6D1A-D00D-F32DAA9613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C47059D9-F6F3-5F64-9AC2-80617F7AEF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70A10F0-7F72-4164-77CC-0DB12AAD4A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4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8ADD66A-7961-377C-DD3B-EFC13269F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56CE8F0D-9147-0EDE-7D20-593BCA2013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27997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2607A764-D93B-7C51-9F5B-7C2E8A7EE06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10BD557D-DE2B-784A-5243-325336BAD1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9D2EA49-852E-25B7-C52C-4FD8BF613B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4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E75E299-6E0E-A425-EADC-177EFF65A7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5F64DBF-6181-5E26-AC5F-FC7FADCD9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134927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D13462E-3B2F-42DE-A1ED-202AB1640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3F8B33-E019-5A4F-46D5-DD7AA259D7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C7A7E223-9864-A348-9F7A-D84DC4AE2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4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D303CED-D2A4-C990-0687-E89CCA82A2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228CC56-9776-8EC7-57E0-355B557EAC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309125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E4D7333-2770-BC4B-D459-742926FA7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FD06AEB6-4AF1-2DEE-3CB0-577C01616D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F0428FD8-64B2-B5E6-5705-DDFC42B952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4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DC52D76-38E2-4C2B-6236-242818057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2368F65D-CB9C-70C0-669A-581A79D84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38177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9B50233-2249-F35E-11DE-5816960CC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90FD3A2-A78B-1A70-E8B8-61A032BE716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D101F14F-CBC5-941A-BE79-B1FB3490DA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2C2D191-9800-EF61-B41B-110DC99CE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4-03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9A554732-6E95-D7B0-6F25-1F8FCC2CCC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338A41B-D3F8-77F4-F496-29298749B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084088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E3D98AF-EC39-5857-2BEA-3E69E37DBF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03C6EA2-541C-D81E-BBDE-10CFD09775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FD3A8F2-4FBB-1C53-805E-3BE87B5981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E18DB6A3-83D6-DE10-041F-89CAC1CBAD3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22CE4770-D6CD-D5B1-670D-6A9D51159A9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8FC974C0-81F5-F478-E569-EDBEFFACBE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4-03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6FE725C4-A65C-2FDE-CFAC-5FC9A2076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510A9373-F56B-39EB-FEF9-0F07DF84A7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380552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F80C00A-7B88-3244-D088-01350CB6C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A0C81801-8E74-21EE-3597-140A958AD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4-03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D63B3A1-D968-5145-0FAA-20D379846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1F85945-DC5A-B901-CFB3-2A51DA443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84878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BBCCD9E1-41AE-D185-2BEE-01E0DE7A7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4-03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A88E9503-AEAF-E879-E7CB-56622AAC9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299CC1D-7F68-250D-AEBB-026D4333BA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598490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02D6DC0-E6AB-0380-2FD7-EE5A0394D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BF06EEB-32FA-AE7E-5CE5-1C5AC6F7C7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41D9E0EA-234F-82E3-60E0-39F6805288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FA6F4866-FECC-2E81-6A7E-3C3508AD6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4-03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234AF9EC-3397-8863-F8E4-97AA4C6175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1A96AEBC-6BE6-C44E-E055-4B772F51F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70302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7C30D79-9B5A-306C-F049-2E92CED7D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5728874-E43A-746B-04DE-D9644A9306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F0E6FD09-B1D0-1B6C-0C3F-ED21386264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10FFCB59-E7B4-645E-FC70-05A876E692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4-03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2E3B3937-1F7D-B5A0-3C87-60DDF0C97E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A6752D7D-8B1F-D492-B5A6-9627F33B7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526205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EF6FEE1-00C8-3D06-265D-5D4AD2F85C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74611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3" imgH="342" progId="TCLayout.ActiveDocument.1">
                  <p:embed/>
                </p:oleObj>
              </mc:Choice>
              <mc:Fallback>
                <p:oleObj name="think-cell Slide" r:id="rId14" imgW="343" imgH="34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F6FEE1-00C8-3D06-265D-5D4AD2F85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68103FB9-F932-0DC6-1AD5-C13DFDE9F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1957325-FD47-2ECE-FEA0-EF94C5C80A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D27583E2-77AF-CAD1-30F3-F7B39D736E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E8C39F-4613-42B9-BB2C-4F957F66E386}" type="datetimeFigureOut">
              <a:rPr lang="sv-SE" smtClean="0"/>
              <a:t>2025-04-0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2C130C5-BC89-6A24-6DF5-F363079BFD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4F24729-8C38-2273-1F37-7BB48BF1EC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84CD33-ACC1-E788-DDE8-F41C1E11CFE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72580"/>
            <a:ext cx="5318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323434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FDC0184-0C9E-02A2-1936-532A786FFC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31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3" imgH="342" progId="TCLayout.ActiveDocument.1">
                  <p:embed/>
                </p:oleObj>
              </mc:Choice>
              <mc:Fallback>
                <p:oleObj name="think-cell Slide" r:id="rId4" imgW="343" imgH="34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DC0184-0C9E-02A2-1936-532A786FFC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pic>
        <p:nvPicPr>
          <p:cNvPr id="10" name="Picture 9" descr="Sachs Covered Bridge with bikes parked in front of it">
            <a:extLst>
              <a:ext uri="{FF2B5EF4-FFF2-40B4-BE49-F238E27FC236}">
                <a16:creationId xmlns:a16="http://schemas.microsoft.com/office/drawing/2014/main" id="{9235078F-96BC-01CE-BEC7-678D6E787540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9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77216" y="1305016"/>
            <a:ext cx="7377423" cy="5546888"/>
          </a:xfrm>
          <a:prstGeom prst="rect">
            <a:avLst/>
          </a:prstGeom>
          <a:noFill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447608" y="3612440"/>
            <a:ext cx="8875435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54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Barkarö SK P17</a:t>
            </a:r>
          </a:p>
          <a:p>
            <a:r>
              <a:rPr lang="sv-SE" sz="28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Föräldramöte</a:t>
            </a:r>
          </a:p>
          <a:p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2025-04-03</a:t>
            </a:r>
          </a:p>
        </p:txBody>
      </p:sp>
    </p:spTree>
    <p:extLst>
      <p:ext uri="{BB962C8B-B14F-4D97-AF65-F5344CB8AC3E}">
        <p14:creationId xmlns:p14="http://schemas.microsoft.com/office/powerpoint/2010/main" val="26914328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028E94-2D2D-C04E-C31E-58815073B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522AE92B-D9BB-4F77-AF41-378E574EC6D2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7DE30582-E25F-3D31-1598-3A7E1A464A57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ABB8A0B-E605-BB22-D051-4171167B2E3E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45F80166-D6E8-2E44-D873-8997C4EE19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A154DF2-8FB1-19B3-9C28-9673C9C82079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Rödblåa spår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91CF7BB-8A90-745F-6DF2-73565E4F377D}"/>
              </a:ext>
            </a:extLst>
          </p:cNvPr>
          <p:cNvSpPr txBox="1"/>
          <p:nvPr/>
        </p:nvSpPr>
        <p:spPr>
          <a:xfrm>
            <a:off x="383475" y="2559344"/>
            <a:ext cx="3604325" cy="3788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sv-SE" b="1" u="sng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Vad är det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Riktlinjer för fotbollssektionen i BARKARÖ SK, konkretiserande av </a:t>
            </a:r>
            <a:r>
              <a:rPr lang="sv-SE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SVFF´s</a:t>
            </a: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 styrdokument etc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Uppdaterad 2025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Ska läsas och signeras av alla ledare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Dokumentet finns på laget.se (</a:t>
            </a:r>
            <a:r>
              <a:rPr lang="sv-SE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Barksö</a:t>
            </a: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 SK) under dokument.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E99C1127-D886-4850-BC07-7D6D64C305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3557" y="1790700"/>
            <a:ext cx="7021289" cy="4617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651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B214DA-49E9-F87A-F853-D855767EB3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1FB9791-00B6-7CA8-91DE-33A7DD888DCE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81CDE70-07AB-A305-8C3E-2EB235EE081F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18CE34-32A1-6433-AFEC-84B0021BAC7B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91C2F9B3-F388-182E-27D5-F3227E4B0A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DB5B196-B36E-7CD5-F5B1-E6364E680574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Rådblåa</a:t>
            </a:r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 spåret (forts.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4A1687D-C31B-D38D-DE53-CA45C1C69C23}"/>
              </a:ext>
            </a:extLst>
          </p:cNvPr>
          <p:cNvSpPr txBox="1"/>
          <p:nvPr/>
        </p:nvSpPr>
        <p:spPr>
          <a:xfrm>
            <a:off x="383475" y="2559344"/>
            <a:ext cx="11556888" cy="4204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I Barkarö SK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Förordar vi att man använder sig av nivåanpassning/individanpassning på träningar i enlighet med Riksidrottsförbundets definitioner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Nivåindelning kan användas sparsamt, men får aldrig leda till någon permanent indelning av grupper, utan på vissa övningar. Ska inte förekomma I spelformerna 3 mot 3 och 5 mot 5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All form av selektering/ toppning ska INTE förekomma i Barkarö SK:s barnfotboll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sv-SE" dirty="0">
              <a:latin typeface="+mj-lt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Individanpassning (Riksidrottsförbundets </a:t>
            </a:r>
            <a:r>
              <a:rPr lang="sv-SE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def</a:t>
            </a:r>
            <a:r>
              <a:rPr lang="sv-SE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.)</a:t>
            </a:r>
            <a:endParaRPr lang="sv-SE" dirty="0">
              <a:latin typeface="+mj-lt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Träning anpassad till var och en utifrån färdighets-, kunskaps- och mognadsnivå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Kan genomföras oavsett hur träningsgruppen eller laget är sammansatt.</a:t>
            </a:r>
          </a:p>
        </p:txBody>
      </p:sp>
    </p:spTree>
    <p:extLst>
      <p:ext uri="{BB962C8B-B14F-4D97-AF65-F5344CB8AC3E}">
        <p14:creationId xmlns:p14="http://schemas.microsoft.com/office/powerpoint/2010/main" val="10694484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Matchsp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7BBA22-BA0F-C4AB-7D8A-24C45C9E7388}"/>
              </a:ext>
            </a:extLst>
          </p:cNvPr>
          <p:cNvSpPr txBox="1"/>
          <p:nvPr/>
        </p:nvSpPr>
        <p:spPr>
          <a:xfrm>
            <a:off x="383475" y="2559344"/>
            <a:ext cx="11556888" cy="23529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ea typeface="Tahoma" panose="020B0604030504040204" pitchFamily="34" charset="0"/>
                <a:cs typeface="Calibri" panose="020F0502020204030204" pitchFamily="34" charset="0"/>
              </a:rPr>
              <a:t>5 mot 5 fr.o.m. i år (SLIPPER SARGEN!)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ea typeface="Tahoma" panose="020B0604030504040204" pitchFamily="34" charset="0"/>
                <a:cs typeface="Calibri" panose="020F0502020204030204" pitchFamily="34" charset="0"/>
              </a:rPr>
              <a:t>Anmälda till poolspel inkl. anordning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ea typeface="Tahoma" panose="020B0604030504040204" pitchFamily="34" charset="0"/>
                <a:cs typeface="Calibri" panose="020F0502020204030204" pitchFamily="34" charset="0"/>
              </a:rPr>
              <a:t>Målvaktcoachning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ea typeface="Tahoma" panose="020B0604030504040204" pitchFamily="34" charset="0"/>
                <a:cs typeface="Calibri" panose="020F0502020204030204" pitchFamily="34" charset="0"/>
              </a:rPr>
              <a:t>Vid behov komplettera P-16 (intresseanmälan kommer skickas, först till kvarn)</a:t>
            </a:r>
            <a:endParaRPr lang="sv-SE" sz="2000" dirty="0"/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sv-SE" sz="2000" dirty="0"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F2A64F5A-4680-CD94-FEC6-CBD896BB18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09310" y="4659020"/>
            <a:ext cx="7373379" cy="1762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1601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322D43-EBF4-662B-E8ED-47C610FAD1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5807E708-81F4-3F3F-98EF-BCA7A2B5D3C6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8D00314-C2E7-4866-E950-BC2BCA9A686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7A4C1781-6B53-DF4E-F290-467927462280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20EE09BC-AB1F-6739-8BA5-F3228C6DD3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CABAC6-DAF9-8E4A-1FFE-D5914A0DA515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Övrig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322C96E-DF9B-157C-9936-5F5AE307801B}"/>
              </a:ext>
            </a:extLst>
          </p:cNvPr>
          <p:cNvSpPr txBox="1"/>
          <p:nvPr/>
        </p:nvSpPr>
        <p:spPr>
          <a:xfrm>
            <a:off x="383475" y="2559344"/>
            <a:ext cx="1155688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3200" dirty="0"/>
              <a:t>Avgift: 1 400 kr (2024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3200" dirty="0"/>
              <a:t>Frågor?</a:t>
            </a:r>
          </a:p>
          <a:p>
            <a:endParaRPr lang="sv-SE" sz="3200" dirty="0"/>
          </a:p>
        </p:txBody>
      </p:sp>
    </p:spTree>
    <p:extLst>
      <p:ext uri="{BB962C8B-B14F-4D97-AF65-F5344CB8AC3E}">
        <p14:creationId xmlns:p14="http://schemas.microsoft.com/office/powerpoint/2010/main" val="27042050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Vi ser fram emot säsongen!</a:t>
            </a:r>
          </a:p>
        </p:txBody>
      </p:sp>
    </p:spTree>
    <p:extLst>
      <p:ext uri="{BB962C8B-B14F-4D97-AF65-F5344CB8AC3E}">
        <p14:creationId xmlns:p14="http://schemas.microsoft.com/office/powerpoint/2010/main" val="4357553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50000"/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580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83476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Agend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7BBA22-BA0F-C4AB-7D8A-24C45C9E7388}"/>
              </a:ext>
            </a:extLst>
          </p:cNvPr>
          <p:cNvSpPr txBox="1"/>
          <p:nvPr/>
        </p:nvSpPr>
        <p:spPr>
          <a:xfrm>
            <a:off x="383475" y="2559344"/>
            <a:ext cx="8875435" cy="3913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Målsättning med året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Träningsupplägg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Ledare och roller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Åtaganden som förälder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Rådblåa</a:t>
            </a: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-spåret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Matchspel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Övrigt</a:t>
            </a:r>
          </a:p>
        </p:txBody>
      </p:sp>
    </p:spTree>
    <p:extLst>
      <p:ext uri="{BB962C8B-B14F-4D97-AF65-F5344CB8AC3E}">
        <p14:creationId xmlns:p14="http://schemas.microsoft.com/office/powerpoint/2010/main" val="11610880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83476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Målsättning med år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7BBA22-BA0F-C4AB-7D8A-24C45C9E7388}"/>
              </a:ext>
            </a:extLst>
          </p:cNvPr>
          <p:cNvSpPr txBox="1"/>
          <p:nvPr/>
        </p:nvSpPr>
        <p:spPr>
          <a:xfrm>
            <a:off x="383475" y="2559344"/>
            <a:ext cx="11556888" cy="2805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Ge barnen möjligheten att, i nära anknytning till hemmet, få utöva fotboll i </a:t>
            </a:r>
            <a:r>
              <a:rPr lang="sv-SE" sz="2400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lagform</a:t>
            </a: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Möjliggöra för varje barn att få utvecklas efter dess egna förutsättningar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Skapa en grupp med god lagsammanhållning och gemenskap. Alla barnen får fördelen att lära sig grunderna i hur man agerar i ett lag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Särskilt fokus inför kommande säsong: FOKUS PÅ FOTBOLLEN</a:t>
            </a:r>
          </a:p>
        </p:txBody>
      </p:sp>
    </p:spTree>
    <p:extLst>
      <p:ext uri="{BB962C8B-B14F-4D97-AF65-F5344CB8AC3E}">
        <p14:creationId xmlns:p14="http://schemas.microsoft.com/office/powerpoint/2010/main" val="7128054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Träningsuppläg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7BBA22-BA0F-C4AB-7D8A-24C45C9E7388}"/>
              </a:ext>
            </a:extLst>
          </p:cNvPr>
          <p:cNvSpPr txBox="1"/>
          <p:nvPr/>
        </p:nvSpPr>
        <p:spPr>
          <a:xfrm>
            <a:off x="383475" y="2559344"/>
            <a:ext cx="11556888" cy="3737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Antal: Två träningar (vardag + helg) + ett bonuspass (vardag)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Tid (önskat och väntar svar): Vardagar kl.18:00, Söndagar kl.16:00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Samtliga träningar kommer läggas upp på laget.se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Vi planerar att gradvis öka fokuset på själva fotbollen.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”Time-out” efter upprepade tillsägelser.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Föräldrar på plats ansvarar för/förväntas ”möta upp”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Fokus kommer fortsatt vara att alla barn har roligt på träningarna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Målvakt fr.o.m. 5 mot 5 (alla får testa).</a:t>
            </a:r>
          </a:p>
        </p:txBody>
      </p:sp>
    </p:spTree>
    <p:extLst>
      <p:ext uri="{BB962C8B-B14F-4D97-AF65-F5344CB8AC3E}">
        <p14:creationId xmlns:p14="http://schemas.microsoft.com/office/powerpoint/2010/main" val="18101648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Träningsupplägg (forts.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5FF8445-6016-5B3B-2061-6EA5FA630FB3}"/>
              </a:ext>
            </a:extLst>
          </p:cNvPr>
          <p:cNvSpPr txBox="1"/>
          <p:nvPr/>
        </p:nvSpPr>
        <p:spPr>
          <a:xfrm>
            <a:off x="383475" y="2559344"/>
            <a:ext cx="11556888" cy="114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Vi har som målsättning att alla tränare ska gå </a:t>
            </a:r>
            <a:r>
              <a:rPr lang="sv-SE" sz="2400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SVFFs</a:t>
            </a: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 tränarutbildning SVFF D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Träningsupplägget kommer i år baseras på ”</a:t>
            </a:r>
            <a:r>
              <a:rPr lang="sv-SE" sz="2400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Coaches</a:t>
            </a: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 </a:t>
            </a:r>
            <a:r>
              <a:rPr lang="sv-SE" sz="2400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App</a:t>
            </a: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” (se nästa </a:t>
            </a:r>
            <a:r>
              <a:rPr lang="sv-SE" sz="2400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slide</a:t>
            </a: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7494335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529920" y="-68280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Träningsupplägg (forts.)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8472906F-911B-BED0-1E79-D97A145A33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8616" y="685326"/>
            <a:ext cx="11414765" cy="2425926"/>
          </a:xfrm>
          <a:prstGeom prst="rect">
            <a:avLst/>
          </a:prstGeom>
        </p:spPr>
      </p:pic>
      <p:sp>
        <p:nvSpPr>
          <p:cNvPr id="9" name="textruta 8">
            <a:extLst>
              <a:ext uri="{FF2B5EF4-FFF2-40B4-BE49-F238E27FC236}">
                <a16:creationId xmlns:a16="http://schemas.microsoft.com/office/drawing/2014/main" id="{6C502B45-8F3F-295D-FBCB-6B7FABD4E5E5}"/>
              </a:ext>
            </a:extLst>
          </p:cNvPr>
          <p:cNvSpPr txBox="1"/>
          <p:nvPr/>
        </p:nvSpPr>
        <p:spPr>
          <a:xfrm>
            <a:off x="6751320" y="4724394"/>
            <a:ext cx="61036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dirty="0"/>
              <a:t>https://www.youtube.com/watch?v=7WkQ5HtFmAA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964E4EF0-73A9-828A-A139-FFC02EDE5B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2439" y="3244334"/>
            <a:ext cx="4453559" cy="3329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5432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Ledare och roller</a:t>
            </a:r>
          </a:p>
        </p:txBody>
      </p:sp>
      <p:graphicFrame>
        <p:nvGraphicFramePr>
          <p:cNvPr id="6" name="Table 8">
            <a:extLst>
              <a:ext uri="{FF2B5EF4-FFF2-40B4-BE49-F238E27FC236}">
                <a16:creationId xmlns:a16="http://schemas.microsoft.com/office/drawing/2014/main" id="{70924E9A-9EC7-9298-5BDE-CCAE74922E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0965058"/>
              </p:ext>
            </p:extLst>
          </p:nvPr>
        </p:nvGraphicFramePr>
        <p:xfrm>
          <a:off x="413247" y="2323191"/>
          <a:ext cx="10592210" cy="463203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79867">
                  <a:extLst>
                    <a:ext uri="{9D8B030D-6E8A-4147-A177-3AD203B41FA5}">
                      <a16:colId xmlns:a16="http://schemas.microsoft.com/office/drawing/2014/main" val="1621237051"/>
                    </a:ext>
                  </a:extLst>
                </a:gridCol>
                <a:gridCol w="6356972">
                  <a:extLst>
                    <a:ext uri="{9D8B030D-6E8A-4147-A177-3AD203B41FA5}">
                      <a16:colId xmlns:a16="http://schemas.microsoft.com/office/drawing/2014/main" val="2283231902"/>
                    </a:ext>
                  </a:extLst>
                </a:gridCol>
                <a:gridCol w="2155371">
                  <a:extLst>
                    <a:ext uri="{9D8B030D-6E8A-4147-A177-3AD203B41FA5}">
                      <a16:colId xmlns:a16="http://schemas.microsoft.com/office/drawing/2014/main" val="1622941442"/>
                    </a:ext>
                  </a:extLst>
                </a:gridCol>
              </a:tblGrid>
              <a:tr h="311041">
                <a:tc>
                  <a:txBody>
                    <a:bodyPr/>
                    <a:lstStyle/>
                    <a:p>
                      <a:r>
                        <a:rPr lang="sv-SE" sz="1200" dirty="0"/>
                        <a:t>Ro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Beskriv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BSK P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554625"/>
                  </a:ext>
                </a:extLst>
              </a:tr>
              <a:tr h="544323">
                <a:tc>
                  <a:txBody>
                    <a:bodyPr/>
                    <a:lstStyle/>
                    <a:p>
                      <a:r>
                        <a:rPr lang="sv-SE" sz="1200" dirty="0"/>
                        <a:t>Lagled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Administrerar laget.se, planerar och administrerar matchspel tillsammans med tränarna, bokar domare, sammankallar till föräldramöten etc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Gustav </a:t>
                      </a:r>
                      <a:r>
                        <a:rPr lang="sv-SE" sz="1200" dirty="0" err="1"/>
                        <a:t>Högsberg</a:t>
                      </a:r>
                      <a:endParaRPr lang="sv-S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83646"/>
                  </a:ext>
                </a:extLst>
              </a:tr>
              <a:tr h="466104">
                <a:tc>
                  <a:txBody>
                    <a:bodyPr/>
                    <a:lstStyle/>
                    <a:p>
                      <a:r>
                        <a:rPr lang="sv-SE" sz="1200" dirty="0"/>
                        <a:t>Huvudansvariga trän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Ansvarig för att lagets fotbollsmässiga utveckling sker på bästa möjliga sätt och enligt </a:t>
                      </a:r>
                      <a:r>
                        <a:rPr lang="sv-SE" sz="1200" dirty="0" err="1"/>
                        <a:t>SVFFs</a:t>
                      </a:r>
                      <a:r>
                        <a:rPr lang="sv-SE" sz="1200" dirty="0"/>
                        <a:t> riktlinjer. (Planering av träningar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Carl Svenss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9567203"/>
                  </a:ext>
                </a:extLst>
              </a:tr>
              <a:tr h="1398313">
                <a:tc>
                  <a:txBody>
                    <a:bodyPr/>
                    <a:lstStyle/>
                    <a:p>
                      <a:r>
                        <a:rPr lang="sv-SE" sz="1200" dirty="0"/>
                        <a:t>Trän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Utvecklar barnen fotbollsmässigt tillsammans med de huvudansvariga tränarna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Jonas Nilsson, David </a:t>
                      </a:r>
                      <a:r>
                        <a:rPr lang="sv-SE" sz="1200" dirty="0" err="1"/>
                        <a:t>Strandler</a:t>
                      </a:r>
                      <a:r>
                        <a:rPr lang="sv-SE" sz="1200" dirty="0"/>
                        <a:t>, Samuel </a:t>
                      </a:r>
                      <a:r>
                        <a:rPr lang="sv-SE" sz="1200" dirty="0" err="1"/>
                        <a:t>Frankner</a:t>
                      </a:r>
                      <a:r>
                        <a:rPr lang="sv-SE" sz="1200" dirty="0"/>
                        <a:t>, Marcus Johansson, Frode </a:t>
                      </a:r>
                      <a:r>
                        <a:rPr lang="sv-SE" sz="1200" dirty="0" err="1"/>
                        <a:t>Tungehaug</a:t>
                      </a:r>
                      <a:r>
                        <a:rPr lang="sv-SE" sz="1200" dirty="0"/>
                        <a:t> &amp; </a:t>
                      </a:r>
                      <a:r>
                        <a:rPr lang="sv-SE" sz="1200" dirty="0" err="1"/>
                        <a:t>Besnik</a:t>
                      </a:r>
                      <a:r>
                        <a:rPr lang="sv-SE" sz="1200" dirty="0"/>
                        <a:t> Avdiu</a:t>
                      </a:r>
                    </a:p>
                    <a:p>
                      <a:endParaRPr lang="sv-SE" sz="1200" dirty="0"/>
                    </a:p>
                    <a:p>
                      <a:r>
                        <a:rPr lang="sv-SE" sz="1200" dirty="0">
                          <a:highlight>
                            <a:srgbClr val="FF0000"/>
                          </a:highlight>
                        </a:rPr>
                        <a:t>Här skulle vi behöva 2 st. till, bl.a. för att kunna bemanna ökat antal träningar och matcher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8624687"/>
                  </a:ext>
                </a:extLst>
              </a:tr>
              <a:tr h="311041">
                <a:tc>
                  <a:txBody>
                    <a:bodyPr/>
                    <a:lstStyle/>
                    <a:p>
                      <a:r>
                        <a:rPr lang="sv-SE" sz="1200" dirty="0"/>
                        <a:t>Materialansvarig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Säkerställer att laget har tillgång den utrustning som kräv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Fredrik </a:t>
                      </a:r>
                      <a:r>
                        <a:rPr lang="sv-SE" sz="1200" dirty="0" err="1"/>
                        <a:t>Rudeflod</a:t>
                      </a:r>
                      <a:endParaRPr lang="sv-S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881730"/>
                  </a:ext>
                </a:extLst>
              </a:tr>
              <a:tr h="311041">
                <a:tc>
                  <a:txBody>
                    <a:bodyPr/>
                    <a:lstStyle/>
                    <a:p>
                      <a:r>
                        <a:rPr lang="sv-SE" sz="1200" dirty="0"/>
                        <a:t>Kassö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Ansvarar för hanteringen av lagets kassa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>
                          <a:highlight>
                            <a:srgbClr val="FF0000"/>
                          </a:highlight>
                        </a:rPr>
                        <a:t>Vaka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8810278"/>
                  </a:ext>
                </a:extLst>
              </a:tr>
              <a:tr h="466104">
                <a:tc>
                  <a:txBody>
                    <a:bodyPr/>
                    <a:lstStyle/>
                    <a:p>
                      <a:r>
                        <a:rPr lang="sv-SE" sz="1200" dirty="0"/>
                        <a:t>Föräldrakoordinator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Samordnar och planerar föräldrarnas deltagande vid aktiviteter utanför det fotbollsmässiga. Administrerar fördelning av lagets försäljningsaktiviteter </a:t>
                      </a:r>
                      <a:r>
                        <a:rPr lang="sv-SE" sz="1200" dirty="0">
                          <a:highlight>
                            <a:srgbClr val="00FF00"/>
                          </a:highlight>
                        </a:rPr>
                        <a:t>inkl. rekar möjligheter till </a:t>
                      </a:r>
                      <a:r>
                        <a:rPr lang="sv-SE" sz="1200" dirty="0" err="1">
                          <a:highlight>
                            <a:srgbClr val="00FF00"/>
                          </a:highlight>
                        </a:rPr>
                        <a:t>spons</a:t>
                      </a:r>
                      <a:r>
                        <a:rPr lang="sv-SE" sz="1200" dirty="0">
                          <a:highlight>
                            <a:srgbClr val="00FF00"/>
                          </a:highlight>
                        </a:rPr>
                        <a:t>. </a:t>
                      </a:r>
                      <a:r>
                        <a:rPr lang="sv-SE" sz="1200" dirty="0"/>
                        <a:t>(t.ex. utrustning till laget såsom tält, stolar etc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>
                          <a:highlight>
                            <a:srgbClr val="FF0000"/>
                          </a:highlight>
                        </a:rPr>
                        <a:t>Förslag 2 st.</a:t>
                      </a:r>
                      <a:endParaRPr lang="sv-S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4941922"/>
                  </a:ext>
                </a:extLst>
              </a:tr>
              <a:tr h="311041">
                <a:tc>
                  <a:txBody>
                    <a:bodyPr/>
                    <a:lstStyle/>
                    <a:p>
                      <a:r>
                        <a:rPr lang="sv-SE" sz="1200" dirty="0"/>
                        <a:t>Föräldragrup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Bemannar lagets gemensamma aktiviteter. (kiosk, försäljning vid match </a:t>
                      </a:r>
                      <a:r>
                        <a:rPr lang="sv-SE" sz="1200" dirty="0" err="1"/>
                        <a:t>etc</a:t>
                      </a:r>
                      <a:r>
                        <a:rPr lang="sv-SE" sz="12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Övriga föräldr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04790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46684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Åtaganden som föräld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7BBA22-BA0F-C4AB-7D8A-24C45C9E7388}"/>
              </a:ext>
            </a:extLst>
          </p:cNvPr>
          <p:cNvSpPr txBox="1"/>
          <p:nvPr/>
        </p:nvSpPr>
        <p:spPr>
          <a:xfrm>
            <a:off x="383475" y="2559344"/>
            <a:ext cx="11556888" cy="32762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Svara på kallelser via laget.se, om mindre än 24 h varsel inför ”event” </a:t>
            </a: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samtal</a:t>
            </a: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/sms till Gustav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Bemanning av klubbens kiosk under säsongen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Försäljning (och tillagning) av förtäring vid hemmamatcher/poolspel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Hjälpa till vid klubbens årliga städdag, bemanning vid eventuella events/firanden på IP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När laget behöver er hjälp, kommer vi presentera schema i förväg på laget.se. </a:t>
            </a:r>
            <a:b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</a:b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Om ni ej har möjlighet att hjälpa till – ansvarar ni för att byta med någon annan förälder i laget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Föräldrar på sidan uppmuntras att heja på laget, men coachning sköts av ledarna</a:t>
            </a:r>
          </a:p>
        </p:txBody>
      </p:sp>
    </p:spTree>
    <p:extLst>
      <p:ext uri="{BB962C8B-B14F-4D97-AF65-F5344CB8AC3E}">
        <p14:creationId xmlns:p14="http://schemas.microsoft.com/office/powerpoint/2010/main" val="3560274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b1c9b508-7c6e-42bd-bedf-808292653d6c}" enabled="1" method="Standard" siteId="{2882be50-2012-4d88-ac86-544124e120c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895</TotalTime>
  <Words>763</Words>
  <Application>Microsoft Office PowerPoint</Application>
  <PresentationFormat>Bredbild</PresentationFormat>
  <Paragraphs>114</Paragraphs>
  <Slides>14</Slides>
  <Notes>13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4</vt:i4>
      </vt:variant>
    </vt:vector>
  </HeadingPairs>
  <TitlesOfParts>
    <vt:vector size="20" baseType="lpstr">
      <vt:lpstr>Arial</vt:lpstr>
      <vt:lpstr>Calibri</vt:lpstr>
      <vt:lpstr>Calibri Light</vt:lpstr>
      <vt:lpstr>Tahoma</vt:lpstr>
      <vt:lpstr>Office-tema</vt:lpstr>
      <vt:lpstr>think-cell Slide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Daniel Kullgren</dc:creator>
  <cp:lastModifiedBy>Högsberg Gustav</cp:lastModifiedBy>
  <cp:revision>17</cp:revision>
  <dcterms:created xsi:type="dcterms:W3CDTF">2022-08-03T09:12:28Z</dcterms:created>
  <dcterms:modified xsi:type="dcterms:W3CDTF">2025-04-03T10:2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-tema:8</vt:lpwstr>
  </property>
  <property fmtid="{D5CDD505-2E9C-101B-9397-08002B2CF9AE}" pid="3" name="ClassificationContentMarkingFooterText">
    <vt:lpwstr>INTERNAL</vt:lpwstr>
  </property>
</Properties>
</file>